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>
        <p:scale>
          <a:sx n="100" d="100"/>
          <a:sy n="100" d="100"/>
        </p:scale>
        <p:origin x="264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3B1DBC4-8CAA-5853-E0A2-138C617407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91838BB7-7031-BB4C-EBDF-9207950A82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DCD7911-A7EA-FBD7-49FB-96029CF0A6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AE15E-8DDC-4847-A501-451BB1C41BF5}" type="datetimeFigureOut">
              <a:rPr lang="zh-CN" altLang="en-US" smtClean="0"/>
              <a:t>2024/9/17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80D3F6C-4DD4-CD1E-3BF1-348831009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38DB613-FAE7-1651-38D1-768702D9CC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CC0F-E05F-45C8-AC68-E882B1F1A4B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11421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E029F48-3D61-815F-E871-6445FEF71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81183CD-0B85-6203-9ACD-89296E14C3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7003201-6A5C-A290-3612-7AD93A0FA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AE15E-8DDC-4847-A501-451BB1C41BF5}" type="datetimeFigureOut">
              <a:rPr lang="zh-CN" altLang="en-US" smtClean="0"/>
              <a:t>2024/9/17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34D3D6F-2E03-B493-1FE1-A019C33F70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32DAF1D-B599-41D8-C6BF-B2ECADB8C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CC0F-E05F-45C8-AC68-E882B1F1A4B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18982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328615D6-0734-82E8-BF58-B0B895C917D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F720E7AB-BFE7-5C4B-F558-DEFA2D7C0A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E0A6CB8-99C2-AAB8-9556-CB992D90C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AE15E-8DDC-4847-A501-451BB1C41BF5}" type="datetimeFigureOut">
              <a:rPr lang="zh-CN" altLang="en-US" smtClean="0"/>
              <a:t>2024/9/17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AB9CC53-A874-C5C2-48CA-296DE2EE12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E6E13CA-8162-8F01-E0F7-2D6F47E33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CC0F-E05F-45C8-AC68-E882B1F1A4B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35438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33195F6-B633-FCE9-FB7D-80C37F8AC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DE9D88C-93D4-D23C-DC7C-EC85A2E28D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2683A98-1932-6D1F-1024-F274B57BD3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AE15E-8DDC-4847-A501-451BB1C41BF5}" type="datetimeFigureOut">
              <a:rPr lang="zh-CN" altLang="en-US" smtClean="0"/>
              <a:t>2024/9/17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195F2DC-141D-1301-9B40-8416C4566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0345DCE-3FD2-5A7D-D1C0-84F1BE383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CC0F-E05F-45C8-AC68-E882B1F1A4B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656772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2B9E8E1-F580-98F9-F143-9B1FD21291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3B60A65-255F-07D2-D250-44E84B1118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EBE8311-310E-6BD7-C6C8-6252CF39AC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AE15E-8DDC-4847-A501-451BB1C41BF5}" type="datetimeFigureOut">
              <a:rPr lang="zh-CN" altLang="en-US" smtClean="0"/>
              <a:t>2024/9/17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125C94D-FD61-420F-CD40-79B3F8C68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D9C2DD5-70A8-FD65-C8EC-9A5077684F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CC0F-E05F-45C8-AC68-E882B1F1A4B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1191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B653CB4-C3D0-76FA-68EC-480E74E5A3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097B4AE-94C1-A605-ECE6-377295D770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4977F68-620A-61BC-2D1F-4A57D0C5D7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6C66A9E-164B-0B2F-39F4-1B829550DA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AE15E-8DDC-4847-A501-451BB1C41BF5}" type="datetimeFigureOut">
              <a:rPr lang="zh-CN" altLang="en-US" smtClean="0"/>
              <a:t>2024/9/17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B837D79-288C-67AA-0AE4-BECD1C65E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3E3CE6BD-14EF-CF88-FCE5-15418FF4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CC0F-E05F-45C8-AC68-E882B1F1A4B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625869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B555EA-8296-56D6-8718-5BC17BB8FD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D042865-31FE-0CDF-0DE4-D6022CF4FE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EC49D82E-C12F-66E3-0078-23C521B1D9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B6A69561-F7FC-F0BF-639F-641F3D9DAE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66E48CE3-2AE7-FC68-B781-6AACB464205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20BB687C-96AD-72BD-DD03-607D61AC5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AE15E-8DDC-4847-A501-451BB1C41BF5}" type="datetimeFigureOut">
              <a:rPr lang="zh-CN" altLang="en-US" smtClean="0"/>
              <a:t>2024/9/17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4233A019-A1E4-F7AC-3A69-89EF04AD85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14C59B1B-9C5B-0B90-BDA7-0A8333090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CC0F-E05F-45C8-AC68-E882B1F1A4B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5712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C16BD02-DDCA-1DA7-08B5-6AB238B53A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DED79CF-979E-F761-97E3-42896ACF4D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AE15E-8DDC-4847-A501-451BB1C41BF5}" type="datetimeFigureOut">
              <a:rPr lang="zh-CN" altLang="en-US" smtClean="0"/>
              <a:t>2024/9/1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0C79672-BDD0-FBD7-34CB-F84A899B9A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2B6C54D-01C3-C8CA-48EE-525206D27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CC0F-E05F-45C8-AC68-E882B1F1A4B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77322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9FDF2923-02DB-6422-B936-7B997484E8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AE15E-8DDC-4847-A501-451BB1C41BF5}" type="datetimeFigureOut">
              <a:rPr lang="zh-CN" altLang="en-US" smtClean="0"/>
              <a:t>2024/9/17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6AEF3B9-E690-0B7E-38CB-78185A2E5A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994103B-09E4-ED93-A4F8-C004D73F9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CC0F-E05F-45C8-AC68-E882B1F1A4B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11703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1FCB7E-E5A1-5567-0A48-333646E14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E5F3BEA-0B08-963D-E89A-BC0F97C5BC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D672F627-E2EE-D2C9-8956-3C92D429DA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3B6DDF5-48E9-6501-B7A9-480DE0A613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AE15E-8DDC-4847-A501-451BB1C41BF5}" type="datetimeFigureOut">
              <a:rPr lang="zh-CN" altLang="en-US" smtClean="0"/>
              <a:t>2024/9/17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65D6B30-9198-9271-0DA8-C5EB30599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96BB207-EED2-F199-CCC1-0A37F76EBC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CC0F-E05F-45C8-AC68-E882B1F1A4B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7829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AD5538E-F4C4-4DD7-0228-9EB1C2695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0371B7DE-4FA3-5245-CAC6-0C5788EC78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B6F7A6A1-8C94-9207-1B4C-C6F5D4F500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2663408-35EC-2851-8242-1894FA615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AE15E-8DDC-4847-A501-451BB1C41BF5}" type="datetimeFigureOut">
              <a:rPr lang="zh-CN" altLang="en-US" smtClean="0"/>
              <a:t>2024/9/17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D16B4F51-36DD-801F-5561-A4BE4E37E3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FDDCE923-A68C-0E9B-B139-44690CE06D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CC0F-E05F-45C8-AC68-E882B1F1A4B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03686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DDCDADD-A9EB-D1D7-B1D9-4325EB7516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90978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347" imgH="348" progId="TCLayout.ActiveDocument.1">
                  <p:embed/>
                </p:oleObj>
              </mc:Choice>
              <mc:Fallback>
                <p:oleObj name="think-cell 幻灯片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DCB171ED-1121-EB5F-3A93-0911A5F347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5474A4D-02EC-59B0-BCF9-31A9FC7641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2DE096D-6432-154A-8EEF-833466C61A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09AE15E-8DDC-4847-A501-451BB1C41BF5}" type="datetimeFigureOut">
              <a:rPr lang="zh-CN" altLang="en-US" smtClean="0"/>
              <a:t>2024/9/17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6308ACA-7D1A-B43F-9A5E-220136F530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AC54B52-1E73-3E3C-6957-6A8BE75702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08BCC0F-E05F-45C8-AC68-E882B1F1A4B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11425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197EDFA-DB2C-564C-7BA1-CA902825BB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3117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47" imgH="348" progId="TCLayout.ActiveDocument.1">
                  <p:embed/>
                </p:oleObj>
              </mc:Choice>
              <mc:Fallback>
                <p:oleObj name="think-cell 幻灯片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: 圆角 4">
            <a:extLst>
              <a:ext uri="{FF2B5EF4-FFF2-40B4-BE49-F238E27FC236}">
                <a16:creationId xmlns:a16="http://schemas.microsoft.com/office/drawing/2014/main" id="{D706A194-9C1C-6AA9-7010-36E66337E0E8}"/>
              </a:ext>
            </a:extLst>
          </p:cNvPr>
          <p:cNvSpPr/>
          <p:nvPr/>
        </p:nvSpPr>
        <p:spPr>
          <a:xfrm>
            <a:off x="2520000" y="720000"/>
            <a:ext cx="7200000" cy="5400000"/>
          </a:xfrm>
          <a:prstGeom prst="roundRect">
            <a:avLst>
              <a:gd name="adj" fmla="val 2470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D93C13EF-2AE0-3F4B-D10F-C27CBFD506C6}"/>
              </a:ext>
            </a:extLst>
          </p:cNvPr>
          <p:cNvCxnSpPr>
            <a:cxnSpLocks/>
          </p:cNvCxnSpPr>
          <p:nvPr/>
        </p:nvCxnSpPr>
        <p:spPr>
          <a:xfrm>
            <a:off x="4171950" y="720000"/>
            <a:ext cx="0" cy="540000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FFC13D35-8EAE-5B9B-0F9D-6B8DE050C542}"/>
              </a:ext>
            </a:extLst>
          </p:cNvPr>
          <p:cNvCxnSpPr/>
          <p:nvPr/>
        </p:nvCxnSpPr>
        <p:spPr>
          <a:xfrm>
            <a:off x="2520000" y="1419225"/>
            <a:ext cx="72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椭圆 12">
            <a:extLst>
              <a:ext uri="{FF2B5EF4-FFF2-40B4-BE49-F238E27FC236}">
                <a16:creationId xmlns:a16="http://schemas.microsoft.com/office/drawing/2014/main" id="{105D50F3-B0F8-9815-0994-A88AAF0E877F}"/>
              </a:ext>
            </a:extLst>
          </p:cNvPr>
          <p:cNvSpPr/>
          <p:nvPr/>
        </p:nvSpPr>
        <p:spPr>
          <a:xfrm>
            <a:off x="2667000" y="850539"/>
            <a:ext cx="438148" cy="438148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CFD2CCF8-444F-21D6-92FB-60A2F6C2F34C}"/>
              </a:ext>
            </a:extLst>
          </p:cNvPr>
          <p:cNvSpPr txBox="1"/>
          <p:nvPr/>
        </p:nvSpPr>
        <p:spPr>
          <a:xfrm>
            <a:off x="3105148" y="881926"/>
            <a:ext cx="1066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Performance Table Tool</a:t>
            </a:r>
            <a:endParaRPr lang="zh-CN" altLang="en-US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8F533C1-1B30-92BE-BDC8-687D4CA0E6A6}"/>
              </a:ext>
            </a:extLst>
          </p:cNvPr>
          <p:cNvSpPr txBox="1"/>
          <p:nvPr/>
        </p:nvSpPr>
        <p:spPr>
          <a:xfrm>
            <a:off x="2520001" y="1450613"/>
            <a:ext cx="165194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latin typeface="Segoe UI" panose="020B0502040204020203" pitchFamily="34" charset="0"/>
                <a:cs typeface="Segoe UI" panose="020B0502040204020203" pitchFamily="34" charset="0"/>
              </a:rPr>
              <a:t>Global result Information</a:t>
            </a:r>
          </a:p>
          <a:p>
            <a:endParaRPr lang="en-US" altLang="zh-CN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altLang="zh-CN" sz="1000" dirty="0">
                <a:latin typeface="Segoe UI" panose="020B0502040204020203" pitchFamily="34" charset="0"/>
                <a:cs typeface="Segoe UI" panose="020B0502040204020203" pitchFamily="34" charset="0"/>
              </a:rPr>
              <a:t>Extraction configuration</a:t>
            </a:r>
          </a:p>
          <a:p>
            <a:endParaRPr lang="en-US" altLang="zh-CN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altLang="zh-CN" sz="1000" dirty="0">
                <a:latin typeface="Segoe UI" panose="020B0502040204020203" pitchFamily="34" charset="0"/>
                <a:cs typeface="Segoe UI" panose="020B0502040204020203" pitchFamily="34" charset="0"/>
              </a:rPr>
              <a:t>Files’ information table</a:t>
            </a:r>
          </a:p>
          <a:p>
            <a:endParaRPr lang="en-US" altLang="zh-CN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altLang="zh-CN" sz="1000" dirty="0">
                <a:latin typeface="Segoe UI" panose="020B0502040204020203" pitchFamily="34" charset="0"/>
                <a:cs typeface="Segoe UI" panose="020B0502040204020203" pitchFamily="34" charset="0"/>
              </a:rPr>
              <a:t>Header settings</a:t>
            </a:r>
          </a:p>
          <a:p>
            <a:endParaRPr lang="en-US" altLang="zh-CN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altLang="zh-CN" sz="1000" dirty="0">
                <a:latin typeface="Segoe UI" panose="020B0502040204020203" pitchFamily="34" charset="0"/>
                <a:cs typeface="Segoe UI" panose="020B0502040204020203" pitchFamily="34" charset="0"/>
              </a:rPr>
              <a:t>Performance Table structure</a:t>
            </a:r>
          </a:p>
          <a:p>
            <a:endParaRPr lang="en-US" altLang="zh-CN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altLang="zh-CN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altLang="zh-CN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altLang="zh-CN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3240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等线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3</TotalTime>
  <Words>17</Words>
  <Application>Microsoft Office PowerPoint</Application>
  <PresentationFormat>宽屏</PresentationFormat>
  <Paragraphs>12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7" baseType="lpstr">
      <vt:lpstr>等线</vt:lpstr>
      <vt:lpstr>等线 Light</vt:lpstr>
      <vt:lpstr>Arial</vt:lpstr>
      <vt:lpstr>Segoe UI</vt:lpstr>
      <vt:lpstr>Office 主题​​</vt:lpstr>
      <vt:lpstr>think-cell 幻灯片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</dc:creator>
  <cp:lastModifiedBy>A</cp:lastModifiedBy>
  <cp:revision>3</cp:revision>
  <dcterms:created xsi:type="dcterms:W3CDTF">2024-09-17T11:08:28Z</dcterms:created>
  <dcterms:modified xsi:type="dcterms:W3CDTF">2024-09-17T13:42:21Z</dcterms:modified>
</cp:coreProperties>
</file>